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6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1.xml" ContentType="application/vnd.openxmlformats-officedocument.presentationml.tags+xml"/>
  <Override PartName="/ppt/notesSlides/notesSlide16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6" r:id="rId16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60.xml" Id="rId163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0.xml.rels>&#65279;<?xml version="1.0" encoding="utf-8"?><Relationships xmlns="http://schemas.openxmlformats.org/package/2006/relationships"><Relationship Type="http://schemas.openxmlformats.org/officeDocument/2006/relationships/slide" Target="/ppt/slides/slide160.xml" Id="rId2" /><Relationship Type="http://schemas.openxmlformats.org/officeDocument/2006/relationships/notesMaster" Target="/ppt/notesMasters/notesMaster1.xml" Id="rId1" /></Relationships>
</file>

<file path=ppt/notesSlides/notesSlide1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59379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1.xml" Id="rId2" /><Relationship Type="http://schemas.openxmlformats.org/officeDocument/2006/relationships/vmlDrawing" Target="/ppt/drawings/vmlDrawing16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4.bin" Id="rId5" /><Relationship Type="http://schemas.openxmlformats.org/officeDocument/2006/relationships/notesSlide" Target="/ppt/notesSlides/notesSlide160.xml" Id="rId4" /></Relationships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22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Quote I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5C783B-3E1C-5E3F-118B-95133BBA7B54}"/>
              </a:ext>
            </a:extLst>
          </p:cNvPr>
          <p:cNvSpPr txBox="1">
            <a:spLocks/>
          </p:cNvSpPr>
          <p:nvPr/>
        </p:nvSpPr>
        <p:spPr bwMode="gray">
          <a:xfrm>
            <a:off x="1877172" y="2027787"/>
            <a:ext cx="9451228" cy="166199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Montserrat ExtraBold" panose="00000900000000000000" pitchFamily="2" charset="0"/>
                <a:ea typeface="+mj-ea"/>
                <a:cs typeface="+mj-cs"/>
                <a:sym typeface="Futura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Lorem ipsum dolor sit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amet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,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liro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consectetuer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elit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. Cum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eneancomm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ligula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eget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dolor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aean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massa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cum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socis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3600" b="1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natoque</a:t>
            </a:r>
            <a:r>
              <a:rPr kumimoji="0" lang="en-US" sz="3600" b="1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.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5F057188-9E2B-D36F-9923-C511EA00C681}"/>
              </a:ext>
            </a:extLst>
          </p:cNvPr>
          <p:cNvSpPr txBox="1">
            <a:spLocks/>
          </p:cNvSpPr>
          <p:nvPr/>
        </p:nvSpPr>
        <p:spPr bwMode="gray">
          <a:xfrm>
            <a:off x="1877172" y="4224599"/>
            <a:ext cx="6211888" cy="992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2313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e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Aenean commo</a:t>
            </a:r>
            <a:br>
              <a:rPr lang="en-US" sz="1400"/>
            </a:br>
            <a:r>
              <a:rPr lang="en-US" sz="1400"/>
              <a:t>ligula </a:t>
            </a:r>
            <a:r>
              <a:rPr lang="en-US" sz="1400" err="1"/>
              <a:t>eget</a:t>
            </a:r>
            <a:r>
              <a:rPr lang="en-US" sz="1400"/>
              <a:t> dolor. Aenean </a:t>
            </a:r>
            <a:r>
              <a:rPr lang="en-US" sz="1400" err="1"/>
              <a:t>massa</a:t>
            </a:r>
            <a:r>
              <a:rPr lang="en-US" sz="1400"/>
              <a:t> cum sociis </a:t>
            </a:r>
            <a:r>
              <a:rPr lang="en-US" sz="1400" err="1"/>
              <a:t>natoque</a:t>
            </a:r>
            <a:r>
              <a:rPr lang="en-US" sz="1400"/>
              <a:t> </a:t>
            </a:r>
            <a:r>
              <a:rPr lang="en-US" sz="1400" err="1"/>
              <a:t>penatibus</a:t>
            </a:r>
            <a:r>
              <a:rPr lang="en-US" sz="1400"/>
              <a:t> et </a:t>
            </a:r>
            <a:r>
              <a:rPr lang="en-US" sz="1400" err="1"/>
              <a:t>magnis</a:t>
            </a:r>
            <a:r>
              <a:rPr lang="en-US" sz="1400"/>
              <a:t> parturient </a:t>
            </a:r>
            <a:r>
              <a:rPr lang="en-US" sz="1400" err="1"/>
              <a:t>montes</a:t>
            </a:r>
            <a:r>
              <a:rPr lang="en-US" sz="1400"/>
              <a:t>, </a:t>
            </a:r>
            <a:r>
              <a:rPr lang="en-US" sz="1400" err="1"/>
              <a:t>nascetur</a:t>
            </a:r>
            <a:r>
              <a:rPr lang="en-US" sz="1400"/>
              <a:t> </a:t>
            </a:r>
            <a:r>
              <a:rPr lang="en-US" sz="1400" err="1"/>
              <a:t>ridiculus</a:t>
            </a:r>
            <a:r>
              <a:rPr lang="en-US" sz="1400"/>
              <a:t> </a:t>
            </a:r>
            <a:r>
              <a:rPr lang="en-US" sz="1400" err="1"/>
              <a:t>mus</a:t>
            </a:r>
            <a:r>
              <a:rPr lang="en-US" sz="1400"/>
              <a:t> </a:t>
            </a:r>
            <a:r>
              <a:rPr lang="en-US" sz="1400" err="1"/>
              <a:t>donec</a:t>
            </a:r>
            <a:r>
              <a:rPr lang="en-US" sz="1400"/>
              <a:t> </a:t>
            </a:r>
            <a:r>
              <a:rPr lang="en-US" sz="1400" err="1"/>
              <a:t>quam</a:t>
            </a:r>
            <a:r>
              <a:rPr lang="en-US" sz="1400"/>
              <a:t>: </a:t>
            </a:r>
            <a:br>
              <a:rPr lang="en-US"/>
            </a:br>
            <a:r>
              <a:rPr lang="en-US" sz="1800" b="1">
                <a:solidFill>
                  <a:schemeClr val="tx2"/>
                </a:solidFill>
              </a:rPr>
              <a:t>Lorem ipsum dolor sit </a:t>
            </a:r>
            <a:r>
              <a:rPr lang="en-US" sz="1800" b="1" err="1">
                <a:solidFill>
                  <a:schemeClr val="tx2"/>
                </a:solidFill>
              </a:rPr>
              <a:t>amet</a:t>
            </a:r>
            <a:r>
              <a:rPr lang="en-US" sz="1800" b="1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4" name="Gruppieren 12">
            <a:extLst>
              <a:ext uri="{FF2B5EF4-FFF2-40B4-BE49-F238E27FC236}">
                <a16:creationId xmlns:a16="http://schemas.microsoft.com/office/drawing/2014/main" id="{8F13A2E4-355D-B627-BA82-0462A070660E}"/>
              </a:ext>
            </a:extLst>
          </p:cNvPr>
          <p:cNvGrpSpPr>
            <a:grpSpLocks/>
          </p:cNvGrpSpPr>
          <p:nvPr/>
        </p:nvGrpSpPr>
        <p:grpSpPr>
          <a:xfrm>
            <a:off x="864870" y="1780647"/>
            <a:ext cx="704340" cy="704340"/>
            <a:chOff x="2387600" y="1866900"/>
            <a:chExt cx="704340" cy="704340"/>
          </a:xfrm>
        </p:grpSpPr>
        <p:sp>
          <p:nvSpPr>
            <p:cNvPr id="6" name="Ellipse 8">
              <a:extLst>
                <a:ext uri="{FF2B5EF4-FFF2-40B4-BE49-F238E27FC236}">
                  <a16:creationId xmlns:a16="http://schemas.microsoft.com/office/drawing/2014/main" id="{583FEE3E-4745-0ECA-9CD4-3B75D126B84C}"/>
                </a:ext>
              </a:extLst>
            </p:cNvPr>
            <p:cNvSpPr>
              <a:spLocks/>
            </p:cNvSpPr>
            <p:nvPr/>
          </p:nvSpPr>
          <p:spPr>
            <a:xfrm>
              <a:off x="2387600" y="1866900"/>
              <a:ext cx="704340" cy="7043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feld 11">
              <a:extLst>
                <a:ext uri="{FF2B5EF4-FFF2-40B4-BE49-F238E27FC236}">
                  <a16:creationId xmlns:a16="http://schemas.microsoft.com/office/drawing/2014/main" id="{4A33029A-A3DE-E4CC-A18F-5C9835BACF8C}"/>
                </a:ext>
              </a:extLst>
            </p:cNvPr>
            <p:cNvSpPr txBox="1">
              <a:spLocks/>
            </p:cNvSpPr>
            <p:nvPr/>
          </p:nvSpPr>
          <p:spPr>
            <a:xfrm>
              <a:off x="2571242" y="2086517"/>
              <a:ext cx="337058" cy="265108"/>
            </a:xfrm>
            <a:custGeom>
              <a:avLst/>
              <a:gdLst/>
              <a:ahLst/>
              <a:cxnLst/>
              <a:rect l="l" t="t" r="r" b="b"/>
              <a:pathLst>
                <a:path w="212113" h="166837">
                  <a:moveTo>
                    <a:pt x="197021" y="0"/>
                  </a:moveTo>
                  <a:lnTo>
                    <a:pt x="212113" y="31831"/>
                  </a:lnTo>
                  <a:cubicBezTo>
                    <a:pt x="196746" y="36953"/>
                    <a:pt x="185724" y="44088"/>
                    <a:pt x="179047" y="53234"/>
                  </a:cubicBezTo>
                  <a:cubicBezTo>
                    <a:pt x="172370" y="62381"/>
                    <a:pt x="168849" y="74546"/>
                    <a:pt x="168483" y="89730"/>
                  </a:cubicBezTo>
                  <a:lnTo>
                    <a:pt x="205802" y="89730"/>
                  </a:lnTo>
                  <a:lnTo>
                    <a:pt x="205802" y="166837"/>
                  </a:lnTo>
                  <a:lnTo>
                    <a:pt x="128695" y="166837"/>
                  </a:lnTo>
                  <a:lnTo>
                    <a:pt x="128695" y="111682"/>
                  </a:lnTo>
                  <a:cubicBezTo>
                    <a:pt x="128695" y="89181"/>
                    <a:pt x="130661" y="71528"/>
                    <a:pt x="134594" y="58722"/>
                  </a:cubicBezTo>
                  <a:cubicBezTo>
                    <a:pt x="138527" y="45917"/>
                    <a:pt x="145845" y="34392"/>
                    <a:pt x="156546" y="24148"/>
                  </a:cubicBezTo>
                  <a:cubicBezTo>
                    <a:pt x="167248" y="13903"/>
                    <a:pt x="180740" y="5854"/>
                    <a:pt x="197021" y="0"/>
                  </a:cubicBezTo>
                  <a:close/>
                  <a:moveTo>
                    <a:pt x="68326" y="0"/>
                  </a:moveTo>
                  <a:lnTo>
                    <a:pt x="83418" y="31831"/>
                  </a:lnTo>
                  <a:cubicBezTo>
                    <a:pt x="68052" y="36953"/>
                    <a:pt x="57030" y="44088"/>
                    <a:pt x="50353" y="53234"/>
                  </a:cubicBezTo>
                  <a:cubicBezTo>
                    <a:pt x="43676" y="62381"/>
                    <a:pt x="40154" y="74546"/>
                    <a:pt x="39788" y="89730"/>
                  </a:cubicBezTo>
                  <a:lnTo>
                    <a:pt x="77107" y="89730"/>
                  </a:lnTo>
                  <a:lnTo>
                    <a:pt x="77107" y="166837"/>
                  </a:lnTo>
                  <a:lnTo>
                    <a:pt x="0" y="166837"/>
                  </a:lnTo>
                  <a:lnTo>
                    <a:pt x="0" y="111682"/>
                  </a:lnTo>
                  <a:cubicBezTo>
                    <a:pt x="0" y="89364"/>
                    <a:pt x="1967" y="71756"/>
                    <a:pt x="5900" y="58860"/>
                  </a:cubicBezTo>
                  <a:cubicBezTo>
                    <a:pt x="9833" y="45963"/>
                    <a:pt x="17105" y="34392"/>
                    <a:pt x="27715" y="24148"/>
                  </a:cubicBezTo>
                  <a:cubicBezTo>
                    <a:pt x="38325" y="13903"/>
                    <a:pt x="51862" y="5854"/>
                    <a:pt x="6832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4400" b="1"/>
            </a:p>
          </p:txBody>
        </p:sp>
      </p:grp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635B4FF-F84E-CD0F-959E-4207B1AC275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344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quotes, quotation, quotations</a:t>
            </a:r>
          </a:p>
        </p:txBody>
      </p:sp>
    </p:spTree>
    <p:extLst>
      <p:ext uri="{BB962C8B-B14F-4D97-AF65-F5344CB8AC3E}">
        <p14:creationId xmlns:p14="http://schemas.microsoft.com/office/powerpoint/2010/main" val="3095227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